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6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7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8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9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30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4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0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43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4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5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46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47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49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50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51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5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53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54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5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5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57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58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59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60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61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6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6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64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65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66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67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68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69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70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71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72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73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74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75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76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77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78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79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80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81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82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83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84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85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86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87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88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89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90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91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92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93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94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95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96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97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98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99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100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101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102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03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04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105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06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107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08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09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10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11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12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13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14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15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116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17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118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19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notesSlides/notesSlide120.xml" ContentType="application/vnd.openxmlformats-officedocument.presentationml.notesSlid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121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122.xml" ContentType="application/vnd.openxmlformats-officedocument.presentationml.notesSl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123.xml" ContentType="application/vnd.openxmlformats-officedocument.presentationml.notesSl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24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125.xml" ContentType="application/vnd.openxmlformats-officedocument.presentationml.notesSl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126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notesSlides/notesSlide1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9"/>
  </p:notesMasterIdLst>
  <p:handoutMasterIdLst>
    <p:handoutMasterId r:id="rId130"/>
  </p:handoutMasterIdLst>
  <p:sldIdLst>
    <p:sldId id="2951" r:id="rId2"/>
    <p:sldId id="2952" r:id="rId3"/>
    <p:sldId id="2953" r:id="rId4"/>
    <p:sldId id="2954" r:id="rId5"/>
    <p:sldId id="2955" r:id="rId6"/>
    <p:sldId id="2956" r:id="rId7"/>
    <p:sldId id="2957" r:id="rId8"/>
    <p:sldId id="2958" r:id="rId9"/>
    <p:sldId id="2959" r:id="rId10"/>
    <p:sldId id="2960" r:id="rId11"/>
    <p:sldId id="2961" r:id="rId12"/>
    <p:sldId id="2962" r:id="rId13"/>
    <p:sldId id="2963" r:id="rId14"/>
    <p:sldId id="2964" r:id="rId15"/>
    <p:sldId id="2965" r:id="rId16"/>
    <p:sldId id="2966" r:id="rId17"/>
    <p:sldId id="2967" r:id="rId18"/>
    <p:sldId id="2968" r:id="rId19"/>
    <p:sldId id="2969" r:id="rId20"/>
    <p:sldId id="2970" r:id="rId21"/>
    <p:sldId id="2971" r:id="rId22"/>
    <p:sldId id="2972" r:id="rId23"/>
    <p:sldId id="2973" r:id="rId24"/>
    <p:sldId id="2974" r:id="rId25"/>
    <p:sldId id="2975" r:id="rId26"/>
    <p:sldId id="2976" r:id="rId27"/>
    <p:sldId id="2977" r:id="rId28"/>
    <p:sldId id="2978" r:id="rId29"/>
    <p:sldId id="2979" r:id="rId30"/>
    <p:sldId id="2980" r:id="rId31"/>
    <p:sldId id="2981" r:id="rId32"/>
    <p:sldId id="2982" r:id="rId33"/>
    <p:sldId id="2983" r:id="rId34"/>
    <p:sldId id="2984" r:id="rId35"/>
    <p:sldId id="2985" r:id="rId36"/>
    <p:sldId id="2986" r:id="rId37"/>
    <p:sldId id="2987" r:id="rId38"/>
    <p:sldId id="2988" r:id="rId39"/>
    <p:sldId id="2989" r:id="rId40"/>
    <p:sldId id="2990" r:id="rId41"/>
    <p:sldId id="2991" r:id="rId42"/>
    <p:sldId id="2992" r:id="rId43"/>
    <p:sldId id="2993" r:id="rId44"/>
    <p:sldId id="2994" r:id="rId45"/>
    <p:sldId id="2995" r:id="rId46"/>
    <p:sldId id="2996" r:id="rId47"/>
    <p:sldId id="2997" r:id="rId48"/>
    <p:sldId id="2998" r:id="rId49"/>
    <p:sldId id="2999" r:id="rId50"/>
    <p:sldId id="3000" r:id="rId51"/>
    <p:sldId id="3001" r:id="rId52"/>
    <p:sldId id="3002" r:id="rId53"/>
    <p:sldId id="3003" r:id="rId54"/>
    <p:sldId id="3004" r:id="rId55"/>
    <p:sldId id="3006" r:id="rId56"/>
    <p:sldId id="3005" r:id="rId57"/>
    <p:sldId id="3007" r:id="rId58"/>
    <p:sldId id="3008" r:id="rId59"/>
    <p:sldId id="3009" r:id="rId60"/>
    <p:sldId id="3010" r:id="rId61"/>
    <p:sldId id="3011" r:id="rId62"/>
    <p:sldId id="3012" r:id="rId63"/>
    <p:sldId id="3013" r:id="rId64"/>
    <p:sldId id="3014" r:id="rId65"/>
    <p:sldId id="3015" r:id="rId66"/>
    <p:sldId id="3016" r:id="rId67"/>
    <p:sldId id="3017" r:id="rId68"/>
    <p:sldId id="3018" r:id="rId69"/>
    <p:sldId id="3019" r:id="rId70"/>
    <p:sldId id="3020" r:id="rId71"/>
    <p:sldId id="3021" r:id="rId72"/>
    <p:sldId id="3022" r:id="rId73"/>
    <p:sldId id="3023" r:id="rId74"/>
    <p:sldId id="3024" r:id="rId75"/>
    <p:sldId id="3025" r:id="rId76"/>
    <p:sldId id="3026" r:id="rId77"/>
    <p:sldId id="3027" r:id="rId78"/>
    <p:sldId id="3028" r:id="rId79"/>
    <p:sldId id="3029" r:id="rId80"/>
    <p:sldId id="3030" r:id="rId81"/>
    <p:sldId id="3031" r:id="rId82"/>
    <p:sldId id="3032" r:id="rId83"/>
    <p:sldId id="3033" r:id="rId84"/>
    <p:sldId id="3034" r:id="rId85"/>
    <p:sldId id="3035" r:id="rId86"/>
    <p:sldId id="3036" r:id="rId87"/>
    <p:sldId id="3037" r:id="rId88"/>
    <p:sldId id="3038" r:id="rId89"/>
    <p:sldId id="3039" r:id="rId90"/>
    <p:sldId id="3040" r:id="rId91"/>
    <p:sldId id="3041" r:id="rId92"/>
    <p:sldId id="3042" r:id="rId93"/>
    <p:sldId id="3043" r:id="rId94"/>
    <p:sldId id="3044" r:id="rId95"/>
    <p:sldId id="3045" r:id="rId96"/>
    <p:sldId id="3046" r:id="rId97"/>
    <p:sldId id="3047" r:id="rId98"/>
    <p:sldId id="3048" r:id="rId99"/>
    <p:sldId id="3049" r:id="rId100"/>
    <p:sldId id="3050" r:id="rId101"/>
    <p:sldId id="3051" r:id="rId102"/>
    <p:sldId id="3052" r:id="rId103"/>
    <p:sldId id="3053" r:id="rId104"/>
    <p:sldId id="3054" r:id="rId105"/>
    <p:sldId id="3055" r:id="rId106"/>
    <p:sldId id="3056" r:id="rId107"/>
    <p:sldId id="3057" r:id="rId108"/>
    <p:sldId id="3058" r:id="rId109"/>
    <p:sldId id="3059" r:id="rId110"/>
    <p:sldId id="3060" r:id="rId111"/>
    <p:sldId id="3061" r:id="rId112"/>
    <p:sldId id="3062" r:id="rId113"/>
    <p:sldId id="3063" r:id="rId114"/>
    <p:sldId id="3064" r:id="rId115"/>
    <p:sldId id="3065" r:id="rId116"/>
    <p:sldId id="3066" r:id="rId117"/>
    <p:sldId id="3067" r:id="rId118"/>
    <p:sldId id="3068" r:id="rId119"/>
    <p:sldId id="3069" r:id="rId120"/>
    <p:sldId id="3070" r:id="rId121"/>
    <p:sldId id="3071" r:id="rId122"/>
    <p:sldId id="3072" r:id="rId123"/>
    <p:sldId id="3073" r:id="rId124"/>
    <p:sldId id="3074" r:id="rId125"/>
    <p:sldId id="3075" r:id="rId126"/>
    <p:sldId id="3076" r:id="rId127"/>
    <p:sldId id="3077" r:id="rId128"/>
  </p:sldIdLst>
  <p:sldSz cx="9144000" cy="5715000" type="screen16x10"/>
  <p:notesSz cx="6735763" cy="9866313"/>
  <p:custDataLst>
    <p:tags r:id="rId131"/>
  </p:custDataLst>
  <p:defaultTextStyle>
    <a:defPPr>
      <a:defRPr lang="zh-CN"/>
    </a:defPPr>
    <a:lvl1pPr marL="0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6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9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24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01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74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50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25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01" algn="l" defTabSz="914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52" userDrawn="1">
          <p15:clr>
            <a:srgbClr val="A4A3A4"/>
          </p15:clr>
        </p15:guide>
        <p15:guide id="3" orient="horz" pos="3342">
          <p15:clr>
            <a:srgbClr val="A4A3A4"/>
          </p15:clr>
        </p15:guide>
        <p15:guide id="4" orient="horz" pos="530" userDrawn="1">
          <p15:clr>
            <a:srgbClr val="A4A3A4"/>
          </p15:clr>
        </p15:guide>
        <p15:guide id="6" pos="5692" userDrawn="1">
          <p15:clr>
            <a:srgbClr val="A4A3A4"/>
          </p15:clr>
        </p15:guide>
        <p15:guide id="8" pos="2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78FB2"/>
    <a:srgbClr val="557799"/>
    <a:srgbClr val="EAEFF7"/>
    <a:srgbClr val="D2DEEF"/>
    <a:srgbClr val="BFD9E6"/>
    <a:srgbClr val="E8954A"/>
    <a:srgbClr val="94B45F"/>
    <a:srgbClr val="D06708"/>
    <a:srgbClr val="FAA61A"/>
    <a:srgbClr val="BDD7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94424" autoAdjust="0"/>
  </p:normalViewPr>
  <p:slideViewPr>
    <p:cSldViewPr>
      <p:cViewPr varScale="1">
        <p:scale>
          <a:sx n="84" d="100"/>
          <a:sy n="84" d="100"/>
        </p:scale>
        <p:origin x="894" y="72"/>
      </p:cViewPr>
      <p:guideLst>
        <p:guide orient="horz" pos="3252"/>
        <p:guide orient="horz" pos="3342"/>
        <p:guide orient="horz" pos="530"/>
        <p:guide pos="5692"/>
        <p:guide pos="249"/>
      </p:guideLst>
    </p:cSldViewPr>
  </p:slideViewPr>
  <p:outlineViewPr>
    <p:cViewPr>
      <p:scale>
        <a:sx n="33" d="100"/>
        <a:sy n="33" d="100"/>
      </p:scale>
      <p:origin x="0" y="9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2922" y="18"/>
      </p:cViewPr>
      <p:guideLst>
        <p:guide orient="horz" pos="3107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notesMaster" Target="notesMasters/notesMaster1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handoutMaster" Target="handoutMasters/handoutMaster1.xml"/><Relationship Id="rId135" Type="http://schemas.openxmlformats.org/officeDocument/2006/relationships/tableStyles" Target="tableStyle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9D4D3B4B-3B48-4B0F-944C-735D5383001A}" type="datetimeFigureOut">
              <a:rPr lang="zh-CN" altLang="en-US" smtClean="0"/>
              <a:pPr/>
              <a:t>2016/4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4626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D7ABD110-9D11-45C6-AA48-021907060E5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2087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01093170-9461-4CFE-A1B2-5AAD4FD62A7D}" type="datetimeFigureOut">
              <a:rPr lang="zh-CN" altLang="en-US" smtClean="0"/>
              <a:pPr/>
              <a:t>2016/4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739775"/>
            <a:ext cx="59197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763" tIns="45382" rIns="90763" bIns="45382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C9D83AD6-B754-4DD5-882E-BFB2703B573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0421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6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9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24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01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74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50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25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01" algn="l" defTabSz="9141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61024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9983272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6032833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4696548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9282782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539594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3218714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2005228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9579443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9063375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672012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0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0381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5174317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9568137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3433343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8054521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4511150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2412407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6213556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2873580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6336947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3006826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81856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5394119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7095927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1654512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7960219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3753927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4882785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8868989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7009549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36000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5407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5008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66923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76585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07677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2074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9702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90492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10104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17580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6939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98938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348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84097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25093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354762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97414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8204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03554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53734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00584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932122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263104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94711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7960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564215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127400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99717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8333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531530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771261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33916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229411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50148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50635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892160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01950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914736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96002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4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679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448414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072687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21804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975208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831636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610366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442744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47749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072093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551607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8049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63956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51201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761530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910561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822673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52252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800997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0516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188520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767013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1619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516650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340832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430444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0844649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830315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7625815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8731144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635578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8567213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8106280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74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2851616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4444636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3907887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5523457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4636947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218253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4565897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2471581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806910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74509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55071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3826407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5113474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2942812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6062358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1897173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062003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4122811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3819606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1642548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045352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租车</a:t>
            </a:r>
            <a:r>
              <a:rPr lang="en-US" altLang="zh-CN" dirty="0" smtClean="0"/>
              <a:t>=6.3</a:t>
            </a:r>
            <a:r>
              <a:rPr lang="zh-CN" altLang="en-US" dirty="0" smtClean="0"/>
              <a:t>*</a:t>
            </a:r>
            <a:r>
              <a:rPr lang="en-US" altLang="zh-CN" dirty="0" smtClean="0"/>
              <a:t>0.3%=0.0222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222</a:t>
            </a:r>
            <a:r>
              <a:rPr lang="zh-CN" altLang="en-US" dirty="0" smtClean="0"/>
              <a:t>亿*（</a:t>
            </a:r>
            <a:r>
              <a:rPr lang="en-US" altLang="zh-CN" dirty="0" smtClean="0"/>
              <a:t>1+6.7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236.8</a:t>
            </a:r>
          </a:p>
          <a:p>
            <a:r>
              <a:rPr lang="zh-CN" altLang="en-US" dirty="0" smtClean="0"/>
              <a:t>专车</a:t>
            </a:r>
            <a:r>
              <a:rPr lang="en-US" altLang="zh-CN" dirty="0" smtClean="0"/>
              <a:t>=0.0077</a:t>
            </a:r>
            <a:r>
              <a:rPr lang="zh-CN" altLang="en-US" dirty="0" smtClean="0"/>
              <a:t>*（</a:t>
            </a:r>
            <a:r>
              <a:rPr lang="en-US" altLang="zh-CN" dirty="0" smtClean="0"/>
              <a:t>1+112%</a:t>
            </a:r>
            <a:r>
              <a:rPr lang="zh-CN" altLang="en-US" dirty="0" smtClean="0"/>
              <a:t>）</a:t>
            </a:r>
            <a:r>
              <a:rPr lang="en-US" altLang="zh-CN" dirty="0" smtClean="0"/>
              <a:t>=0.016324</a:t>
            </a:r>
            <a:r>
              <a:rPr lang="zh-CN" altLang="en-US" dirty="0" smtClean="0"/>
              <a:t>万亿</a:t>
            </a:r>
            <a:r>
              <a:rPr lang="en-US" altLang="zh-CN" dirty="0" smtClean="0"/>
              <a:t>=16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</a:p>
          <a:p>
            <a:r>
              <a:rPr lang="zh-CN" altLang="en-US" dirty="0" smtClean="0"/>
              <a:t>黑车</a:t>
            </a:r>
            <a:r>
              <a:rPr lang="en-US" altLang="zh-CN" dirty="0" smtClean="0"/>
              <a:t>=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9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5613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14" tIns="45708" rIns="91414" bIns="45708" anchor="ctr" anchorCtr="0"/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1" y="823516"/>
            <a:ext cx="8229600" cy="4320000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 sz="1600">
                <a:latin typeface="微软雅黑" pitchFamily="34" charset="-122"/>
                <a:ea typeface="微软雅黑" pitchFamily="34" charset="-122"/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4" y="5416569"/>
            <a:ext cx="4429125" cy="228600"/>
          </a:xfrm>
          <a:prstGeom prst="rect">
            <a:avLst/>
          </a:prstGeom>
        </p:spPr>
        <p:txBody>
          <a:bodyPr lIns="76167" tIns="38083" rIns="76167" bIns="38083" anchor="ctr"/>
          <a:lstStyle>
            <a:lvl1pPr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14" tIns="45708" rIns="91414" bIns="45708" anchor="ctr" anchorCtr="0"/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4" y="5416569"/>
            <a:ext cx="4429125" cy="228600"/>
          </a:xfrm>
          <a:prstGeom prst="rect">
            <a:avLst/>
          </a:prstGeom>
        </p:spPr>
        <p:txBody>
          <a:bodyPr lIns="76167" tIns="38083" rIns="76167" bIns="38083" anchor="ctr"/>
          <a:lstStyle>
            <a:lvl1pPr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14" tIns="45708" rIns="91414" bIns="45708" anchor="ctr" anchorCtr="0"/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4" y="5416569"/>
            <a:ext cx="4429125" cy="228600"/>
          </a:xfrm>
          <a:prstGeom prst="rect">
            <a:avLst/>
          </a:prstGeom>
        </p:spPr>
        <p:txBody>
          <a:bodyPr lIns="76167" tIns="38083" rIns="76167" bIns="38083" anchor="ctr"/>
          <a:lstStyle>
            <a:lvl1pPr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14" tIns="45708" rIns="91414" bIns="45708" anchor="ctr" anchorCtr="0"/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4" y="5416569"/>
            <a:ext cx="4429125" cy="228600"/>
          </a:xfrm>
          <a:prstGeom prst="rect">
            <a:avLst/>
          </a:prstGeom>
        </p:spPr>
        <p:txBody>
          <a:bodyPr lIns="76167" tIns="38083" rIns="76167" bIns="38083" anchor="ctr"/>
          <a:lstStyle>
            <a:lvl1pPr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76167" tIns="38083" rIns="76167" bIns="38083"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76167" tIns="38083" rIns="76167" bIns="38083"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14" tIns="45708" rIns="91414" bIns="45708" anchor="ctr" anchorCtr="0"/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4" y="5416569"/>
            <a:ext cx="4429125" cy="228600"/>
          </a:xfrm>
          <a:prstGeom prst="rect">
            <a:avLst/>
          </a:prstGeom>
        </p:spPr>
        <p:txBody>
          <a:bodyPr lIns="76167" tIns="38083" rIns="76167" bIns="38083" anchor="ctr"/>
          <a:lstStyle>
            <a:lvl1pPr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 dirty="0" smtClean="0"/>
              <a:t>数据来源：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90916120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20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8" r:id="rId2"/>
    <p:sldLayoutId id="2147483675" r:id="rId3"/>
    <p:sldLayoutId id="2147483679" r:id="rId4"/>
    <p:sldLayoutId id="214748368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5pPr>
      <a:lvl6pPr marL="457076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6pPr>
      <a:lvl7pPr marL="914149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7pPr>
      <a:lvl8pPr marL="1371224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8pPr>
      <a:lvl9pPr marL="1828301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9pPr>
    </p:titleStyle>
    <p:bodyStyle>
      <a:lvl1pPr marL="342805" indent="-34280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746" indent="-285672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2688" indent="-228538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599763" indent="-22853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6837" indent="-22853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3913" indent="-2285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0987" indent="-2285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8063" indent="-2285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5136" indent="-2285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6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49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4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4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5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01" algn="l" defTabSz="9141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tags" Target="../tags/tag202.xml"/><Relationship Id="rId7" Type="http://schemas.openxmlformats.org/officeDocument/2006/relationships/image" Target="../media/image2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101.bin"/><Relationship Id="rId5" Type="http://schemas.openxmlformats.org/officeDocument/2006/relationships/notesSlide" Target="../notesSlides/notesSlide100.xml"/><Relationship Id="rId4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tags" Target="../tags/tag204.xml"/><Relationship Id="rId7" Type="http://schemas.openxmlformats.org/officeDocument/2006/relationships/image" Target="../media/image2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102.bin"/><Relationship Id="rId5" Type="http://schemas.openxmlformats.org/officeDocument/2006/relationships/notesSlide" Target="../notesSlides/notesSlide101.xml"/><Relationship Id="rId4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tags" Target="../tags/tag206.xml"/><Relationship Id="rId7" Type="http://schemas.openxmlformats.org/officeDocument/2006/relationships/image" Target="../media/image2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103.bin"/><Relationship Id="rId5" Type="http://schemas.openxmlformats.org/officeDocument/2006/relationships/notesSlide" Target="../notesSlides/notesSlide102.xml"/><Relationship Id="rId4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tags" Target="../tags/tag208.xml"/><Relationship Id="rId7" Type="http://schemas.openxmlformats.org/officeDocument/2006/relationships/image" Target="../media/image2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104.bin"/><Relationship Id="rId5" Type="http://schemas.openxmlformats.org/officeDocument/2006/relationships/notesSlide" Target="../notesSlides/notesSlide103.xml"/><Relationship Id="rId4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tags" Target="../tags/tag210.xml"/><Relationship Id="rId7" Type="http://schemas.openxmlformats.org/officeDocument/2006/relationships/image" Target="../media/image2.emf"/><Relationship Id="rId2" Type="http://schemas.openxmlformats.org/officeDocument/2006/relationships/tags" Target="../tags/tag209.xml"/><Relationship Id="rId1" Type="http://schemas.openxmlformats.org/officeDocument/2006/relationships/vmlDrawing" Target="../drawings/vmlDrawing105.vml"/><Relationship Id="rId6" Type="http://schemas.openxmlformats.org/officeDocument/2006/relationships/oleObject" Target="../embeddings/oleObject105.bin"/><Relationship Id="rId5" Type="http://schemas.openxmlformats.org/officeDocument/2006/relationships/notesSlide" Target="../notesSlides/notesSlide104.xml"/><Relationship Id="rId4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tags" Target="../tags/tag212.xml"/><Relationship Id="rId7" Type="http://schemas.openxmlformats.org/officeDocument/2006/relationships/image" Target="../media/image2.emf"/><Relationship Id="rId2" Type="http://schemas.openxmlformats.org/officeDocument/2006/relationships/tags" Target="../tags/tag211.xml"/><Relationship Id="rId1" Type="http://schemas.openxmlformats.org/officeDocument/2006/relationships/vmlDrawing" Target="../drawings/vmlDrawing106.vml"/><Relationship Id="rId6" Type="http://schemas.openxmlformats.org/officeDocument/2006/relationships/oleObject" Target="../embeddings/oleObject106.bin"/><Relationship Id="rId5" Type="http://schemas.openxmlformats.org/officeDocument/2006/relationships/notesSlide" Target="../notesSlides/notesSlide105.xml"/><Relationship Id="rId4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tags" Target="../tags/tag214.xml"/><Relationship Id="rId7" Type="http://schemas.openxmlformats.org/officeDocument/2006/relationships/image" Target="../media/image2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107.vml"/><Relationship Id="rId6" Type="http://schemas.openxmlformats.org/officeDocument/2006/relationships/oleObject" Target="../embeddings/oleObject107.bin"/><Relationship Id="rId5" Type="http://schemas.openxmlformats.org/officeDocument/2006/relationships/notesSlide" Target="../notesSlides/notesSlide106.xml"/><Relationship Id="rId4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tags" Target="../tags/tag216.xml"/><Relationship Id="rId7" Type="http://schemas.openxmlformats.org/officeDocument/2006/relationships/image" Target="../media/image2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108.vml"/><Relationship Id="rId6" Type="http://schemas.openxmlformats.org/officeDocument/2006/relationships/oleObject" Target="../embeddings/oleObject108.bin"/><Relationship Id="rId5" Type="http://schemas.openxmlformats.org/officeDocument/2006/relationships/notesSlide" Target="../notesSlides/notesSlide107.xml"/><Relationship Id="rId4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tags" Target="../tags/tag218.xml"/><Relationship Id="rId7" Type="http://schemas.openxmlformats.org/officeDocument/2006/relationships/image" Target="../media/image2.emf"/><Relationship Id="rId2" Type="http://schemas.openxmlformats.org/officeDocument/2006/relationships/tags" Target="../tags/tag217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09.bin"/><Relationship Id="rId5" Type="http://schemas.openxmlformats.org/officeDocument/2006/relationships/notesSlide" Target="../notesSlides/notesSlide108.xml"/><Relationship Id="rId4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tags" Target="../tags/tag220.xml"/><Relationship Id="rId7" Type="http://schemas.openxmlformats.org/officeDocument/2006/relationships/image" Target="../media/image2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10.vml"/><Relationship Id="rId6" Type="http://schemas.openxmlformats.org/officeDocument/2006/relationships/oleObject" Target="../embeddings/oleObject110.bin"/><Relationship Id="rId5" Type="http://schemas.openxmlformats.org/officeDocument/2006/relationships/notesSlide" Target="../notesSlides/notesSlide10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tags" Target="../tags/tag222.xml"/><Relationship Id="rId7" Type="http://schemas.openxmlformats.org/officeDocument/2006/relationships/image" Target="../media/image2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111.bin"/><Relationship Id="rId5" Type="http://schemas.openxmlformats.org/officeDocument/2006/relationships/notesSlide" Target="../notesSlides/notesSlide110.xml"/><Relationship Id="rId4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tags" Target="../tags/tag224.xml"/><Relationship Id="rId7" Type="http://schemas.openxmlformats.org/officeDocument/2006/relationships/image" Target="../media/image2.emf"/><Relationship Id="rId2" Type="http://schemas.openxmlformats.org/officeDocument/2006/relationships/tags" Target="../tags/tag223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112.bin"/><Relationship Id="rId5" Type="http://schemas.openxmlformats.org/officeDocument/2006/relationships/notesSlide" Target="../notesSlides/notesSlide111.xml"/><Relationship Id="rId4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tags" Target="../tags/tag226.xml"/><Relationship Id="rId7" Type="http://schemas.openxmlformats.org/officeDocument/2006/relationships/image" Target="../media/image2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13.bin"/><Relationship Id="rId5" Type="http://schemas.openxmlformats.org/officeDocument/2006/relationships/notesSlide" Target="../notesSlides/notesSlide112.xml"/><Relationship Id="rId4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tags" Target="../tags/tag228.xml"/><Relationship Id="rId7" Type="http://schemas.openxmlformats.org/officeDocument/2006/relationships/image" Target="../media/image2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114.vml"/><Relationship Id="rId6" Type="http://schemas.openxmlformats.org/officeDocument/2006/relationships/oleObject" Target="../embeddings/oleObject114.bin"/><Relationship Id="rId5" Type="http://schemas.openxmlformats.org/officeDocument/2006/relationships/notesSlide" Target="../notesSlides/notesSlide113.xml"/><Relationship Id="rId4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tags" Target="../tags/tag230.xml"/><Relationship Id="rId7" Type="http://schemas.openxmlformats.org/officeDocument/2006/relationships/image" Target="../media/image2.emf"/><Relationship Id="rId2" Type="http://schemas.openxmlformats.org/officeDocument/2006/relationships/tags" Target="../tags/tag229.xml"/><Relationship Id="rId1" Type="http://schemas.openxmlformats.org/officeDocument/2006/relationships/vmlDrawing" Target="../drawings/vmlDrawing115.vml"/><Relationship Id="rId6" Type="http://schemas.openxmlformats.org/officeDocument/2006/relationships/oleObject" Target="../embeddings/oleObject115.bin"/><Relationship Id="rId5" Type="http://schemas.openxmlformats.org/officeDocument/2006/relationships/notesSlide" Target="../notesSlides/notesSlide114.xml"/><Relationship Id="rId4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tags" Target="../tags/tag232.xml"/><Relationship Id="rId7" Type="http://schemas.openxmlformats.org/officeDocument/2006/relationships/image" Target="../media/image2.emf"/><Relationship Id="rId2" Type="http://schemas.openxmlformats.org/officeDocument/2006/relationships/tags" Target="../tags/tag231.xml"/><Relationship Id="rId1" Type="http://schemas.openxmlformats.org/officeDocument/2006/relationships/vmlDrawing" Target="../drawings/vmlDrawing116.vml"/><Relationship Id="rId6" Type="http://schemas.openxmlformats.org/officeDocument/2006/relationships/oleObject" Target="../embeddings/oleObject116.bin"/><Relationship Id="rId5" Type="http://schemas.openxmlformats.org/officeDocument/2006/relationships/notesSlide" Target="../notesSlides/notesSlide115.xml"/><Relationship Id="rId4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tags" Target="../tags/tag234.xml"/><Relationship Id="rId7" Type="http://schemas.openxmlformats.org/officeDocument/2006/relationships/image" Target="../media/image2.emf"/><Relationship Id="rId2" Type="http://schemas.openxmlformats.org/officeDocument/2006/relationships/tags" Target="../tags/tag233.xml"/><Relationship Id="rId1" Type="http://schemas.openxmlformats.org/officeDocument/2006/relationships/vmlDrawing" Target="../drawings/vmlDrawing117.vml"/><Relationship Id="rId6" Type="http://schemas.openxmlformats.org/officeDocument/2006/relationships/oleObject" Target="../embeddings/oleObject117.bin"/><Relationship Id="rId5" Type="http://schemas.openxmlformats.org/officeDocument/2006/relationships/notesSlide" Target="../notesSlides/notesSlide116.xml"/><Relationship Id="rId4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tags" Target="../tags/tag236.xml"/><Relationship Id="rId7" Type="http://schemas.openxmlformats.org/officeDocument/2006/relationships/image" Target="../media/image2.emf"/><Relationship Id="rId2" Type="http://schemas.openxmlformats.org/officeDocument/2006/relationships/tags" Target="../tags/tag235.xml"/><Relationship Id="rId1" Type="http://schemas.openxmlformats.org/officeDocument/2006/relationships/vmlDrawing" Target="../drawings/vmlDrawing118.vml"/><Relationship Id="rId6" Type="http://schemas.openxmlformats.org/officeDocument/2006/relationships/oleObject" Target="../embeddings/oleObject118.bin"/><Relationship Id="rId5" Type="http://schemas.openxmlformats.org/officeDocument/2006/relationships/notesSlide" Target="../notesSlides/notesSlide117.xml"/><Relationship Id="rId4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tags" Target="../tags/tag238.xml"/><Relationship Id="rId7" Type="http://schemas.openxmlformats.org/officeDocument/2006/relationships/image" Target="../media/image2.emf"/><Relationship Id="rId2" Type="http://schemas.openxmlformats.org/officeDocument/2006/relationships/tags" Target="../tags/tag237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119.bin"/><Relationship Id="rId5" Type="http://schemas.openxmlformats.org/officeDocument/2006/relationships/notesSlide" Target="../notesSlides/notesSlide118.xml"/><Relationship Id="rId4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tags" Target="../tags/tag240.xml"/><Relationship Id="rId7" Type="http://schemas.openxmlformats.org/officeDocument/2006/relationships/image" Target="../media/image2.emf"/><Relationship Id="rId2" Type="http://schemas.openxmlformats.org/officeDocument/2006/relationships/tags" Target="../tags/tag239.xml"/><Relationship Id="rId1" Type="http://schemas.openxmlformats.org/officeDocument/2006/relationships/vmlDrawing" Target="../drawings/vmlDrawing120.vml"/><Relationship Id="rId6" Type="http://schemas.openxmlformats.org/officeDocument/2006/relationships/oleObject" Target="../embeddings/oleObject120.bin"/><Relationship Id="rId5" Type="http://schemas.openxmlformats.org/officeDocument/2006/relationships/notesSlide" Target="../notesSlides/notesSlide119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tags" Target="../tags/tag242.xml"/><Relationship Id="rId7" Type="http://schemas.openxmlformats.org/officeDocument/2006/relationships/image" Target="../media/image2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121.vml"/><Relationship Id="rId6" Type="http://schemas.openxmlformats.org/officeDocument/2006/relationships/oleObject" Target="../embeddings/oleObject121.bin"/><Relationship Id="rId5" Type="http://schemas.openxmlformats.org/officeDocument/2006/relationships/notesSlide" Target="../notesSlides/notesSlide120.xml"/><Relationship Id="rId4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tags" Target="../tags/tag244.xml"/><Relationship Id="rId7" Type="http://schemas.openxmlformats.org/officeDocument/2006/relationships/image" Target="../media/image2.emf"/><Relationship Id="rId2" Type="http://schemas.openxmlformats.org/officeDocument/2006/relationships/tags" Target="../tags/tag243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122.bin"/><Relationship Id="rId5" Type="http://schemas.openxmlformats.org/officeDocument/2006/relationships/notesSlide" Target="../notesSlides/notesSlide121.xml"/><Relationship Id="rId4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tags" Target="../tags/tag246.xml"/><Relationship Id="rId7" Type="http://schemas.openxmlformats.org/officeDocument/2006/relationships/image" Target="../media/image2.emf"/><Relationship Id="rId2" Type="http://schemas.openxmlformats.org/officeDocument/2006/relationships/tags" Target="../tags/tag245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123.bin"/><Relationship Id="rId5" Type="http://schemas.openxmlformats.org/officeDocument/2006/relationships/notesSlide" Target="../notesSlides/notesSlide122.xml"/><Relationship Id="rId4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tags" Target="../tags/tag248.xml"/><Relationship Id="rId7" Type="http://schemas.openxmlformats.org/officeDocument/2006/relationships/image" Target="../media/image2.emf"/><Relationship Id="rId2" Type="http://schemas.openxmlformats.org/officeDocument/2006/relationships/tags" Target="../tags/tag247.xml"/><Relationship Id="rId1" Type="http://schemas.openxmlformats.org/officeDocument/2006/relationships/vmlDrawing" Target="../drawings/vmlDrawing124.vml"/><Relationship Id="rId6" Type="http://schemas.openxmlformats.org/officeDocument/2006/relationships/oleObject" Target="../embeddings/oleObject124.bin"/><Relationship Id="rId5" Type="http://schemas.openxmlformats.org/officeDocument/2006/relationships/notesSlide" Target="../notesSlides/notesSlide123.xml"/><Relationship Id="rId4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tags" Target="../tags/tag250.xml"/><Relationship Id="rId7" Type="http://schemas.openxmlformats.org/officeDocument/2006/relationships/image" Target="../media/image2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125.vml"/><Relationship Id="rId6" Type="http://schemas.openxmlformats.org/officeDocument/2006/relationships/oleObject" Target="../embeddings/oleObject125.bin"/><Relationship Id="rId5" Type="http://schemas.openxmlformats.org/officeDocument/2006/relationships/notesSlide" Target="../notesSlides/notesSlide124.xml"/><Relationship Id="rId4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tags" Target="../tags/tag252.xml"/><Relationship Id="rId7" Type="http://schemas.openxmlformats.org/officeDocument/2006/relationships/image" Target="../media/image2.emf"/><Relationship Id="rId2" Type="http://schemas.openxmlformats.org/officeDocument/2006/relationships/tags" Target="../tags/tag251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126.bin"/><Relationship Id="rId5" Type="http://schemas.openxmlformats.org/officeDocument/2006/relationships/notesSlide" Target="../notesSlides/notesSlide125.xml"/><Relationship Id="rId4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tags" Target="../tags/tag254.xml"/><Relationship Id="rId7" Type="http://schemas.openxmlformats.org/officeDocument/2006/relationships/image" Target="../media/image2.emf"/><Relationship Id="rId2" Type="http://schemas.openxmlformats.org/officeDocument/2006/relationships/tags" Target="../tags/tag253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127.bin"/><Relationship Id="rId5" Type="http://schemas.openxmlformats.org/officeDocument/2006/relationships/notesSlide" Target="../notesSlides/notesSlide126.xml"/><Relationship Id="rId4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tags" Target="../tags/tag256.xml"/><Relationship Id="rId7" Type="http://schemas.openxmlformats.org/officeDocument/2006/relationships/image" Target="../media/image2.emf"/><Relationship Id="rId2" Type="http://schemas.openxmlformats.org/officeDocument/2006/relationships/tags" Target="../tags/tag255.xml"/><Relationship Id="rId1" Type="http://schemas.openxmlformats.org/officeDocument/2006/relationships/vmlDrawing" Target="../drawings/vmlDrawing128.vml"/><Relationship Id="rId6" Type="http://schemas.openxmlformats.org/officeDocument/2006/relationships/oleObject" Target="../embeddings/oleObject128.bin"/><Relationship Id="rId5" Type="http://schemas.openxmlformats.org/officeDocument/2006/relationships/notesSlide" Target="../notesSlides/notesSlide127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0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54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56.xml"/><Relationship Id="rId7" Type="http://schemas.openxmlformats.org/officeDocument/2006/relationships/image" Target="../media/image2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62.xml"/><Relationship Id="rId7" Type="http://schemas.openxmlformats.org/officeDocument/2006/relationships/image" Target="../media/image2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64.xml"/><Relationship Id="rId7" Type="http://schemas.openxmlformats.org/officeDocument/2006/relationships/image" Target="../media/image2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66.xml"/><Relationship Id="rId7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33.xml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70.xml"/><Relationship Id="rId7" Type="http://schemas.openxmlformats.org/officeDocument/2006/relationships/image" Target="../media/image2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72.xml"/><Relationship Id="rId7" Type="http://schemas.openxmlformats.org/officeDocument/2006/relationships/image" Target="../media/image2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74.xml"/><Relationship Id="rId7" Type="http://schemas.openxmlformats.org/officeDocument/2006/relationships/image" Target="../media/image2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76.xml"/><Relationship Id="rId7" Type="http://schemas.openxmlformats.org/officeDocument/2006/relationships/image" Target="../media/image2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78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80.xml"/><Relationship Id="rId7" Type="http://schemas.openxmlformats.org/officeDocument/2006/relationships/image" Target="../media/image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82.xml"/><Relationship Id="rId7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40.xml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86.xml"/><Relationship Id="rId7" Type="http://schemas.openxmlformats.org/officeDocument/2006/relationships/image" Target="../media/image2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88.xml"/><Relationship Id="rId7" Type="http://schemas.openxmlformats.org/officeDocument/2006/relationships/image" Target="../media/image2.emf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notesSlide" Target="../notesSlides/notesSlide43.xml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90.xml"/><Relationship Id="rId7" Type="http://schemas.openxmlformats.org/officeDocument/2006/relationships/image" Target="../media/image2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44.xml"/><Relationship Id="rId4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92.xml"/><Relationship Id="rId7" Type="http://schemas.openxmlformats.org/officeDocument/2006/relationships/image" Target="../media/image2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45.xml"/><Relationship Id="rId4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94.xml"/><Relationship Id="rId7" Type="http://schemas.openxmlformats.org/officeDocument/2006/relationships/image" Target="../media/image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46.xml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96.xml"/><Relationship Id="rId7" Type="http://schemas.openxmlformats.org/officeDocument/2006/relationships/image" Target="../media/image2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47.xml"/><Relationship Id="rId4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98.xml"/><Relationship Id="rId7" Type="http://schemas.openxmlformats.org/officeDocument/2006/relationships/image" Target="../media/image2.emf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notesSlide" Target="../notesSlides/notesSlide48.xml"/><Relationship Id="rId4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00.xml"/><Relationship Id="rId7" Type="http://schemas.openxmlformats.org/officeDocument/2006/relationships/image" Target="../media/image2.emf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49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02.xml"/><Relationship Id="rId7" Type="http://schemas.openxmlformats.org/officeDocument/2006/relationships/image" Target="../media/image2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notesSlide" Target="../notesSlides/notesSlide50.xml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104.xml"/><Relationship Id="rId7" Type="http://schemas.openxmlformats.org/officeDocument/2006/relationships/image" Target="../media/image2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51.xml"/><Relationship Id="rId4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106.xml"/><Relationship Id="rId7" Type="http://schemas.openxmlformats.org/officeDocument/2006/relationships/image" Target="../media/image2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52.xml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108.xml"/><Relationship Id="rId7" Type="http://schemas.openxmlformats.org/officeDocument/2006/relationships/image" Target="../media/image2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53.xml"/><Relationship Id="rId4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110.xml"/><Relationship Id="rId7" Type="http://schemas.openxmlformats.org/officeDocument/2006/relationships/image" Target="../media/image2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54.xml"/><Relationship Id="rId4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112.xml"/><Relationship Id="rId7" Type="http://schemas.openxmlformats.org/officeDocument/2006/relationships/image" Target="../media/image2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55.xml"/><Relationship Id="rId4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114.xml"/><Relationship Id="rId7" Type="http://schemas.openxmlformats.org/officeDocument/2006/relationships/image" Target="../media/image2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56.xml"/><Relationship Id="rId4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116.xml"/><Relationship Id="rId7" Type="http://schemas.openxmlformats.org/officeDocument/2006/relationships/image" Target="../media/image2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notesSlide" Target="../notesSlides/notesSlide57.xml"/><Relationship Id="rId4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18.xml"/><Relationship Id="rId7" Type="http://schemas.openxmlformats.org/officeDocument/2006/relationships/image" Target="../media/image2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58.xml"/><Relationship Id="rId4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120.xml"/><Relationship Id="rId7" Type="http://schemas.openxmlformats.org/officeDocument/2006/relationships/image" Target="../media/image2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notesSlide" Target="../notesSlides/notesSlide59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122.xml"/><Relationship Id="rId7" Type="http://schemas.openxmlformats.org/officeDocument/2006/relationships/image" Target="../media/image2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60.xml"/><Relationship Id="rId4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124.xml"/><Relationship Id="rId7" Type="http://schemas.openxmlformats.org/officeDocument/2006/relationships/image" Target="../media/image2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61.xml"/><Relationship Id="rId4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126.xml"/><Relationship Id="rId7" Type="http://schemas.openxmlformats.org/officeDocument/2006/relationships/image" Target="../media/image2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62.xml"/><Relationship Id="rId4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128.xml"/><Relationship Id="rId7" Type="http://schemas.openxmlformats.org/officeDocument/2006/relationships/image" Target="../media/image2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63.xml"/><Relationship Id="rId4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30.xml"/><Relationship Id="rId7" Type="http://schemas.openxmlformats.org/officeDocument/2006/relationships/image" Target="../media/image2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64.xml"/><Relationship Id="rId4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132.xml"/><Relationship Id="rId7" Type="http://schemas.openxmlformats.org/officeDocument/2006/relationships/image" Target="../media/image2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65.xml"/><Relationship Id="rId4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tags" Target="../tags/tag134.xml"/><Relationship Id="rId7" Type="http://schemas.openxmlformats.org/officeDocument/2006/relationships/image" Target="../media/image2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notesSlide" Target="../notesSlides/notesSlide66.xml"/><Relationship Id="rId4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67.xml"/><Relationship Id="rId4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tags" Target="../tags/tag138.xml"/><Relationship Id="rId7" Type="http://schemas.openxmlformats.org/officeDocument/2006/relationships/image" Target="../media/image2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68.xml"/><Relationship Id="rId4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69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142.xml"/><Relationship Id="rId7" Type="http://schemas.openxmlformats.org/officeDocument/2006/relationships/image" Target="../media/image2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70.xml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144.xml"/><Relationship Id="rId7" Type="http://schemas.openxmlformats.org/officeDocument/2006/relationships/image" Target="../media/image2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71.xml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tags" Target="../tags/tag146.xml"/><Relationship Id="rId7" Type="http://schemas.openxmlformats.org/officeDocument/2006/relationships/image" Target="../media/image2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72.xml"/><Relationship Id="rId4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148.xml"/><Relationship Id="rId7" Type="http://schemas.openxmlformats.org/officeDocument/2006/relationships/image" Target="../media/image2.emf"/><Relationship Id="rId2" Type="http://schemas.openxmlformats.org/officeDocument/2006/relationships/tags" Target="../tags/tag147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73.xml"/><Relationship Id="rId4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tags" Target="../tags/tag150.xml"/><Relationship Id="rId7" Type="http://schemas.openxmlformats.org/officeDocument/2006/relationships/image" Target="../media/image2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74.xml"/><Relationship Id="rId4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tags" Target="../tags/tag152.xml"/><Relationship Id="rId7" Type="http://schemas.openxmlformats.org/officeDocument/2006/relationships/image" Target="../media/image2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75.xml"/><Relationship Id="rId4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tags" Target="../tags/tag154.xml"/><Relationship Id="rId7" Type="http://schemas.openxmlformats.org/officeDocument/2006/relationships/image" Target="../media/image2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76.xml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tags" Target="../tags/tag156.xml"/><Relationship Id="rId7" Type="http://schemas.openxmlformats.org/officeDocument/2006/relationships/image" Target="../media/image2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77.xml"/><Relationship Id="rId4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tags" Target="../tags/tag158.xml"/><Relationship Id="rId7" Type="http://schemas.openxmlformats.org/officeDocument/2006/relationships/image" Target="../media/image2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78.xml"/><Relationship Id="rId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tags" Target="../tags/tag160.xml"/><Relationship Id="rId7" Type="http://schemas.openxmlformats.org/officeDocument/2006/relationships/image" Target="../media/image2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79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162.xml"/><Relationship Id="rId7" Type="http://schemas.openxmlformats.org/officeDocument/2006/relationships/image" Target="../media/image2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80.xml"/><Relationship Id="rId4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tags" Target="../tags/tag164.xml"/><Relationship Id="rId7" Type="http://schemas.openxmlformats.org/officeDocument/2006/relationships/image" Target="../media/image2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notesSlide" Target="../notesSlides/notesSlide81.xml"/><Relationship Id="rId4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tags" Target="../tags/tag166.xml"/><Relationship Id="rId7" Type="http://schemas.openxmlformats.org/officeDocument/2006/relationships/image" Target="../media/image2.emf"/><Relationship Id="rId2" Type="http://schemas.openxmlformats.org/officeDocument/2006/relationships/tags" Target="../tags/tag165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83.bin"/><Relationship Id="rId5" Type="http://schemas.openxmlformats.org/officeDocument/2006/relationships/notesSlide" Target="../notesSlides/notesSlide82.xml"/><Relationship Id="rId4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168.xml"/><Relationship Id="rId7" Type="http://schemas.openxmlformats.org/officeDocument/2006/relationships/image" Target="../media/image2.emf"/><Relationship Id="rId2" Type="http://schemas.openxmlformats.org/officeDocument/2006/relationships/tags" Target="../tags/tag167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4.bin"/><Relationship Id="rId5" Type="http://schemas.openxmlformats.org/officeDocument/2006/relationships/notesSlide" Target="../notesSlides/notesSlide83.xml"/><Relationship Id="rId4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tags" Target="../tags/tag170.xml"/><Relationship Id="rId7" Type="http://schemas.openxmlformats.org/officeDocument/2006/relationships/image" Target="../media/image2.emf"/><Relationship Id="rId2" Type="http://schemas.openxmlformats.org/officeDocument/2006/relationships/tags" Target="../tags/tag169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notesSlide" Target="../notesSlides/notesSlide84.xml"/><Relationship Id="rId4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tags" Target="../tags/tag172.xml"/><Relationship Id="rId7" Type="http://schemas.openxmlformats.org/officeDocument/2006/relationships/image" Target="../media/image2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85.xml"/><Relationship Id="rId4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tags" Target="../tags/tag174.xml"/><Relationship Id="rId7" Type="http://schemas.openxmlformats.org/officeDocument/2006/relationships/image" Target="../media/image2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notesSlide" Target="../notesSlides/notesSlide86.xml"/><Relationship Id="rId4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tags" Target="../tags/tag176.xml"/><Relationship Id="rId7" Type="http://schemas.openxmlformats.org/officeDocument/2006/relationships/image" Target="../media/image2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8.bin"/><Relationship Id="rId5" Type="http://schemas.openxmlformats.org/officeDocument/2006/relationships/notesSlide" Target="../notesSlides/notesSlide87.xml"/><Relationship Id="rId4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tags" Target="../tags/tag178.xml"/><Relationship Id="rId7" Type="http://schemas.openxmlformats.org/officeDocument/2006/relationships/image" Target="../media/image2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notesSlide" Target="../notesSlides/notesSlide88.xml"/><Relationship Id="rId4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tags" Target="../tags/tag180.xml"/><Relationship Id="rId7" Type="http://schemas.openxmlformats.org/officeDocument/2006/relationships/image" Target="../media/image2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90.bin"/><Relationship Id="rId5" Type="http://schemas.openxmlformats.org/officeDocument/2006/relationships/notesSlide" Target="../notesSlides/notesSlide89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tags" Target="../tags/tag182.xml"/><Relationship Id="rId7" Type="http://schemas.openxmlformats.org/officeDocument/2006/relationships/image" Target="../media/image2.emf"/><Relationship Id="rId2" Type="http://schemas.openxmlformats.org/officeDocument/2006/relationships/tags" Target="../tags/tag181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5" Type="http://schemas.openxmlformats.org/officeDocument/2006/relationships/notesSlide" Target="../notesSlides/notesSlide90.xml"/><Relationship Id="rId4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tags" Target="../tags/tag184.xml"/><Relationship Id="rId7" Type="http://schemas.openxmlformats.org/officeDocument/2006/relationships/image" Target="../media/image2.emf"/><Relationship Id="rId2" Type="http://schemas.openxmlformats.org/officeDocument/2006/relationships/tags" Target="../tags/tag183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5" Type="http://schemas.openxmlformats.org/officeDocument/2006/relationships/notesSlide" Target="../notesSlides/notesSlide91.xml"/><Relationship Id="rId4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186.xml"/><Relationship Id="rId7" Type="http://schemas.openxmlformats.org/officeDocument/2006/relationships/image" Target="../media/image2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93.bin"/><Relationship Id="rId5" Type="http://schemas.openxmlformats.org/officeDocument/2006/relationships/notesSlide" Target="../notesSlides/notesSlide92.xml"/><Relationship Id="rId4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tags" Target="../tags/tag188.xml"/><Relationship Id="rId7" Type="http://schemas.openxmlformats.org/officeDocument/2006/relationships/image" Target="../media/image2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4.bin"/><Relationship Id="rId5" Type="http://schemas.openxmlformats.org/officeDocument/2006/relationships/notesSlide" Target="../notesSlides/notesSlide93.xml"/><Relationship Id="rId4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tags" Target="../tags/tag190.xml"/><Relationship Id="rId7" Type="http://schemas.openxmlformats.org/officeDocument/2006/relationships/image" Target="../media/image2.emf"/><Relationship Id="rId2" Type="http://schemas.openxmlformats.org/officeDocument/2006/relationships/tags" Target="../tags/tag189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95.bin"/><Relationship Id="rId5" Type="http://schemas.openxmlformats.org/officeDocument/2006/relationships/notesSlide" Target="../notesSlides/notesSlide94.xml"/><Relationship Id="rId4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tags" Target="../tags/tag192.xml"/><Relationship Id="rId7" Type="http://schemas.openxmlformats.org/officeDocument/2006/relationships/image" Target="../media/image2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5" Type="http://schemas.openxmlformats.org/officeDocument/2006/relationships/notesSlide" Target="../notesSlides/notesSlide95.xml"/><Relationship Id="rId4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94.xml"/><Relationship Id="rId7" Type="http://schemas.openxmlformats.org/officeDocument/2006/relationships/image" Target="../media/image2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notesSlide" Target="../notesSlides/notesSlide96.xml"/><Relationship Id="rId4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tags" Target="../tags/tag196.xml"/><Relationship Id="rId7" Type="http://schemas.openxmlformats.org/officeDocument/2006/relationships/image" Target="../media/image2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5" Type="http://schemas.openxmlformats.org/officeDocument/2006/relationships/notesSlide" Target="../notesSlides/notesSlide97.xml"/><Relationship Id="rId4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198.xml"/><Relationship Id="rId7" Type="http://schemas.openxmlformats.org/officeDocument/2006/relationships/image" Target="../media/image2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99.vml"/><Relationship Id="rId6" Type="http://schemas.openxmlformats.org/officeDocument/2006/relationships/oleObject" Target="../embeddings/oleObject99.bin"/><Relationship Id="rId5" Type="http://schemas.openxmlformats.org/officeDocument/2006/relationships/notesSlide" Target="../notesSlides/notesSlide98.xml"/><Relationship Id="rId4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tags" Target="../tags/tag200.xml"/><Relationship Id="rId7" Type="http://schemas.openxmlformats.org/officeDocument/2006/relationships/image" Target="../media/image2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5" Type="http://schemas.openxmlformats.org/officeDocument/2006/relationships/notesSlide" Target="../notesSlides/notesSlide9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66700"/>
            <a:ext cx="691515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79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7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66700"/>
            <a:ext cx="68580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813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8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66700"/>
            <a:ext cx="69246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61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0987"/>
            <a:ext cx="68675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7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9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0987"/>
            <a:ext cx="68961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537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66700"/>
            <a:ext cx="68865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6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9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0987"/>
            <a:ext cx="68675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90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0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5750"/>
            <a:ext cx="68675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1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0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0987"/>
            <a:ext cx="68961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093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0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71462"/>
            <a:ext cx="69246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0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0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76225"/>
            <a:ext cx="687705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2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95275"/>
            <a:ext cx="687705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7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61937"/>
            <a:ext cx="688657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20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80987"/>
            <a:ext cx="68580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1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71462"/>
            <a:ext cx="69246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9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1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57175"/>
            <a:ext cx="68675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57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80987"/>
            <a:ext cx="69056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44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61937"/>
            <a:ext cx="68961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171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85750"/>
            <a:ext cx="69056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14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2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76225"/>
            <a:ext cx="690562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38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3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66700"/>
            <a:ext cx="68580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4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71462"/>
            <a:ext cx="69151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769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3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51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7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4900" y="261937"/>
            <a:ext cx="69342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01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3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80987"/>
            <a:ext cx="684847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26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71462"/>
            <a:ext cx="69151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42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66700"/>
            <a:ext cx="68865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99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71462"/>
            <a:ext cx="689610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243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66700"/>
            <a:ext cx="68961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338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4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6225"/>
            <a:ext cx="68865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90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5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76225"/>
            <a:ext cx="686752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5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66700"/>
            <a:ext cx="68580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00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61937"/>
            <a:ext cx="687705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4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52412"/>
            <a:ext cx="686752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812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76225"/>
            <a:ext cx="69246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39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8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80987"/>
            <a:ext cx="68580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769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9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6225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3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42887"/>
            <a:ext cx="6886575" cy="522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84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57175"/>
            <a:ext cx="687705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15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5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2525" y="290512"/>
            <a:ext cx="683895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92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9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90512"/>
            <a:ext cx="691515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95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9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76225"/>
            <a:ext cx="69246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79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0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95275"/>
            <a:ext cx="6848475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6225"/>
            <a:ext cx="68865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86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80987"/>
            <a:ext cx="688657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01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61937"/>
            <a:ext cx="68961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0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1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76225"/>
            <a:ext cx="687705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347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1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6225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32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1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4900" y="280987"/>
            <a:ext cx="69342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4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1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76225"/>
            <a:ext cx="691515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69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61937"/>
            <a:ext cx="690562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2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0137" y="290512"/>
            <a:ext cx="6943725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71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23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21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2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0987"/>
            <a:ext cx="68961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3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8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71462"/>
            <a:ext cx="690562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1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13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66700"/>
            <a:ext cx="691515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21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3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80987"/>
            <a:ext cx="688657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61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3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1462"/>
            <a:ext cx="685800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4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2525" y="295275"/>
            <a:ext cx="683895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642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43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5750"/>
            <a:ext cx="68961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163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9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76225"/>
            <a:ext cx="68961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99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04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80987"/>
            <a:ext cx="69056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3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147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90512"/>
            <a:ext cx="685800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79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50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66700"/>
            <a:ext cx="691515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41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71462"/>
            <a:ext cx="68770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73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5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80987"/>
            <a:ext cx="692467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38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5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71462"/>
            <a:ext cx="686752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79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9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61937"/>
            <a:ext cx="68961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98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6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0137" y="276225"/>
            <a:ext cx="694372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060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6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66700"/>
            <a:ext cx="686752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86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6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61937"/>
            <a:ext cx="691515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52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90512"/>
            <a:ext cx="6848475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15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06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5750"/>
            <a:ext cx="68961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34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17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71462"/>
            <a:ext cx="69151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99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27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57175"/>
            <a:ext cx="688657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22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300037"/>
            <a:ext cx="6858000" cy="511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18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71462"/>
            <a:ext cx="69246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09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83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61937"/>
            <a:ext cx="68961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5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8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6812" y="276225"/>
            <a:ext cx="68103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65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8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0137" y="238125"/>
            <a:ext cx="6943725" cy="523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81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88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80987"/>
            <a:ext cx="691515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2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9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6225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574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6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76225"/>
            <a:ext cx="68484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5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9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71462"/>
            <a:ext cx="68484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16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478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9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66700"/>
            <a:ext cx="686752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6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5750"/>
            <a:ext cx="68675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20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0137" y="266700"/>
            <a:ext cx="694372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26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01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61937"/>
            <a:ext cx="690562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8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76225"/>
            <a:ext cx="68961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877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76225"/>
            <a:ext cx="687705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72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61937"/>
            <a:ext cx="690562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0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6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80987"/>
            <a:ext cx="687705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5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0987"/>
            <a:ext cx="68675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1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71462"/>
            <a:ext cx="686752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0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2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57175"/>
            <a:ext cx="68580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37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23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2050" y="314325"/>
            <a:ext cx="6819900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15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61937"/>
            <a:ext cx="688657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715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76225"/>
            <a:ext cx="686752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25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0987"/>
            <a:ext cx="68961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39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1462"/>
            <a:ext cx="685800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96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39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71462"/>
            <a:ext cx="68865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0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6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4425" y="271462"/>
            <a:ext cx="69151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9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4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80987"/>
            <a:ext cx="68961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82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66700"/>
            <a:ext cx="687705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3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80987"/>
            <a:ext cx="685800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97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66700"/>
            <a:ext cx="690562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0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66700"/>
            <a:ext cx="69246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49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57175"/>
            <a:ext cx="68961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86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80987"/>
            <a:ext cx="6877050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26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7762" y="271462"/>
            <a:ext cx="684847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532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85750"/>
            <a:ext cx="68675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52412"/>
            <a:ext cx="6924675" cy="521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24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7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57175"/>
            <a:ext cx="688657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09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7287" y="280987"/>
            <a:ext cx="68294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67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71462"/>
            <a:ext cx="685800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00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7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475" y="271462"/>
            <a:ext cx="68770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87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662" y="266700"/>
            <a:ext cx="69246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84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66700"/>
            <a:ext cx="688657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21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0" y="261937"/>
            <a:ext cx="68580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70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7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8237" y="276225"/>
            <a:ext cx="686752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9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2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187" y="285750"/>
            <a:ext cx="69056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388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8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8712" y="280987"/>
            <a:ext cx="688657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1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对象 10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3950" y="271462"/>
            <a:ext cx="689610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/%#m/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4&quot;&gt;&lt;elem m_fUsage=&quot;1.71000000000000000000E+000&quot;&gt;&lt;m_msothmcolidx val=&quot;0&quot;/&gt;&lt;m_rgb r=&quot;fe&quot; g=&quot;aa&quot; b=&quot;a0&quot;/&gt;&lt;m_ppcolschidx tagver0=&quot;23004&quot; tagname0=&quot;m_ppcolschidxUNRECOGNIZED&quot; val=&quot;0&quot;/&gt;&lt;m_nBrightness val=&quot;0&quot;/&gt;&lt;/elem&gt;&lt;elem m_fUsage=&quot;1.59049000000000020000E+000&quot;&gt;&lt;m_msothmcolidx val=&quot;0&quot;/&gt;&lt;m_rgb r=&quot;ed&quot; g=&quot;a9&quot; b=&quot;2c&quot;/&gt;&lt;m_ppcolschidx tagver0=&quot;23004&quot; tagname0=&quot;m_ppcolschidxUNRECOGNIZED&quot; val=&quot;0&quot;/&gt;&lt;m_nBrightness val=&quot;0&quot;/&gt;&lt;/elem&gt;&lt;elem m_fUsage=&quot;1.21798227230003930000E+000&quot;&gt;&lt;m_msothmcolidx val=&quot;0&quot;/&gt;&lt;m_rgb r=&quot;bc&quot; g=&quot;78&quot; b=&quot;9a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d7&quot; g=&quot;cf&quot; b=&quot;4a&quot;/&gt;&lt;m_ppcolschidx tagver0=&quot;23004&quot; tagname0=&quot;m_ppcolschidxUNRECOGNIZED&quot; val=&quot;0&quot;/&gt;&lt;m_nBrightness val=&quot;0&quot;/&gt;&lt;/elem&gt;&lt;elem m_fUsage=&quot;6.84653792832900290000E-001&quot;&gt;&lt;m_msothmcolidx val=&quot;0&quot;/&gt;&lt;m_rgb r=&quot;ec&quot; g=&quot;f8&quot; b=&quot;e4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c8&quot; g=&quot;75&quot; b=&quot;59&quot;/&gt;&lt;m_ppcolschidx tagver0=&quot;23004&quot; tagname0=&quot;m_ppcolschidxUNRECOGNIZED&quot; val=&quot;0&quot;/&gt;&lt;m_nBrightness val=&quot;0&quot;/&gt;&lt;/elem&gt;&lt;elem m_fUsage=&quot;6.16188413549610290000E-001&quot;&gt;&lt;m_msothmcolidx val=&quot;0&quot;/&gt;&lt;m_rgb r=&quot;da&quot; g=&quot;ef&quot; b=&quot;cb&quot;/&gt;&lt;m_ppcolschidx tagver0=&quot;23004&quot; tagname0=&quot;m_ppcolschidxUNRECOGNIZED&quot; val=&quot;0&quot;/&gt;&lt;m_nBrightness val=&quot;0&quot;/&gt;&lt;/elem&gt;&lt;elem m_fUsage=&quot;5.54569572194649310000E-001&quot;&gt;&lt;m_msothmcolidx val=&quot;0&quot;/&gt;&lt;m_rgb r=&quot;d2&quot; g=&quot;ec&quot; b=&quot;c1&quot;/&gt;&lt;m_ppcolschidx tagver0=&quot;23004&quot; tagname0=&quot;m_ppcolschidxUNRECOGNIZED&quot; val=&quot;0&quot;/&gt;&lt;m_nBrightness val=&quot;0&quot;/&gt;&lt;/elem&gt;&lt;elem m_fUsage=&quot;4.99112614975184390000E-001&quot;&gt;&lt;m_msothmcolidx val=&quot;0&quot;/&gt;&lt;m_rgb r=&quot;c6&quot; g=&quot;e7&quot; b=&quot;a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f8&quot; g=&quot;fc&quot; b=&quot;f5&quot;/&gt;&lt;m_ppcolschidx tagver0=&quot;23004&quot; tagname0=&quot;m_ppcolschidxUNRECOGNIZED&quot; val=&quot;0&quot;/&gt;&lt;m_nBrightness val=&quot;0&quot;/&gt;&lt;/elem&gt;&lt;elem m_fUsage=&quot;2.31382635888932510000E-001&quot;&gt;&lt;m_msothmcolidx val=&quot;0&quot;/&gt;&lt;m_rgb r=&quot;cd&quot; g=&quot;98&quot; b=&quot;b3&quot;/&gt;&lt;m_ppcolschidx tagver0=&quot;23004&quot; tagname0=&quot;m_ppcolschidxUNRECOGNIZED&quot; val=&quot;0&quot;/&gt;&lt;m_nBrightness val=&quot;0&quot;/&gt;&lt;/elem&gt;&lt;elem m_fUsage=&quot;1.87419935070035320000E-001&quot;&gt;&lt;m_msothmcolidx val=&quot;0&quot;/&gt;&lt;m_rgb r=&quot;b6&quot; g=&quot;69&quot; b=&quot;8f&quot;/&gt;&lt;m_ppcolschidx tagver0=&quot;23004&quot; tagname0=&quot;m_ppcolschidxUNRECOGNIZED&quot; val=&quot;0&quot;/&gt;&lt;m_nBrightness val=&quot;0&quot;/&gt;&lt;/elem&gt;&lt;elem m_fUsage=&quot;1.68677941563031790000E-001&quot;&gt;&lt;m_msothmcolidx val=&quot;0&quot;/&gt;&lt;m_rgb r=&quot;a3&quot; g=&quot;50&quot; b=&quot;79&quot;/&gt;&lt;m_ppcolschidx tagver0=&quot;23004&quot; tagname0=&quot;m_ppcolschidxUNRECOGNIZED&quot; val=&quot;0&quot;/&gt;&lt;m_nBrightness val=&quot;0&quot;/&gt;&lt;/elem&gt;&lt;elem m_fUsage=&quot;1.60419179965710340000E-001&quot;&gt;&lt;m_msothmcolidx val=&quot;0&quot;/&gt;&lt;m_rgb r=&quot;e3&quot; g=&quot;c6&quot; b=&quot;d5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8&quot; g=&quot;ef&quot; b=&quot;f3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8&quot; g=&quot;d0&quot; b=&quot;dd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de&quot; g=&quot;bc&quot; b=&quot;cd&quot;/&gt;&lt;m_ppcolschidx tagver0=&quot;23004&quot; tagname0=&quot;m_ppcolschidxUNRECOGNIZED&quot; val=&quot;0&quot;/&gt;&lt;m_nBrightness val=&quot;0&quot;/&gt;&lt;/elem&gt;&lt;elem m_fUsage=&quot;7.02039972195856450000E-002&quot;&gt;&lt;m_msothmcolidx val=&quot;0&quot;/&gt;&lt;m_rgb r=&quot;c2&quot; g=&quot;e2&quot; b=&quot;eb&quot;/&gt;&lt;m_ppcolschidx tagver0=&quot;23004&quot; tagname0=&quot;m_ppcolschidxUNRECOGNIZED&quot; val=&quot;0&quot;/&gt;&lt;m_nBrightness val=&quot;0&quot;/&gt;&lt;/elem&gt;&lt;elem m_fUsage=&quot;4.68800060157823430000E-002&quot;&gt;&lt;m_msothmcolidx val=&quot;0&quot;/&gt;&lt;m_rgb r=&quot;b1&quot; g=&quot;da&quot; b=&quot;e4&quot;/&gt;&lt;m_ppcolschidx tagver0=&quot;23004&quot; tagname0=&quot;m_ppcolschidxUNRECOGNIZED&quot; val=&quot;0&quot;/&gt;&lt;m_nBrightness val=&quot;0&quot;/&gt;&lt;/elem&gt;&lt;elem m_fUsage=&quot;3.58068187142382630000E-002&quot;&gt;&lt;m_msothmcolidx val=&quot;0&quot;/&gt;&lt;m_rgb r=&quot;ec&quot; g=&quot;a5&quot; b=&quot;8c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ef&quot; g=&quot;f8&quot; b=&quot;fa&quot;/&gt;&lt;m_ppcolschidx tagver0=&quot;23004&quot; tagname0=&quot;m_ppcolschidxUNRECOGNIZED&quot; val=&quot;0&quot;/&gt;&lt;m_nBrightness val=&quot;0&quot;/&gt;&lt;/elem&gt;&lt;elem m_fUsage=&quot;3.22261368428144390000E-002&quot;&gt;&lt;m_msothmcolidx val=&quot;0&quot;/&gt;&lt;m_rgb r=&quot;e8&quot; g=&quot;91&quot; b=&quot;73&quot;/&gt;&lt;m_ppcolschidx tagver0=&quot;23004&quot; tagname0=&quot;m_ppcolschidxUNRECOGNIZED&quot; val=&quot;0&quot;/&gt;&lt;m_nBrightness val=&quot;0&quot;/&gt;&lt;/elem&gt;&lt;elem m_fUsage=&quot;3.09031543826326430000E-002&quot;&gt;&lt;m_msothmcolidx val=&quot;0&quot;/&gt;&lt;m_rgb r=&quot;d8&quot; g=&quot;ec&quot; b=&quot;f1&quot;/&gt;&lt;m_ppcolschidx tagver0=&quot;23004&quot; tagname0=&quot;m_ppcolschidxUNRECOGNIZED&quot; val=&quot;0&quot;/&gt;&lt;m_nBrightness val=&quot;0&quot;/&gt;&lt;/elem&gt;&lt;elem m_fUsage=&quot;2.02755595904452780000E-002&quot;&gt;&lt;m_msothmcolidx val=&quot;0&quot;/&gt;&lt;m_rgb r=&quot;fd&quot; g=&quot;f5&quot; b=&quot;f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EXTBOX" val="内容待完善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slDRqY0CsRWpLBCUBP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vin模板">
  <a:themeElements>
    <a:clrScheme name="businness week风格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20409A"/>
      </a:accent1>
      <a:accent2>
        <a:srgbClr val="39B1CC"/>
      </a:accent2>
      <a:accent3>
        <a:srgbClr val="FAA61A"/>
      </a:accent3>
      <a:accent4>
        <a:srgbClr val="91BA40"/>
      </a:accent4>
      <a:accent5>
        <a:srgbClr val="920A2F"/>
      </a:accent5>
      <a:accent6>
        <a:srgbClr val="F78B29"/>
      </a:accent6>
      <a:hlink>
        <a:srgbClr val="49AC6B"/>
      </a:hlink>
      <a:folHlink>
        <a:srgbClr val="99CC0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70C0"/>
        </a:solidFill>
        <a:ln w="9525" algn="ctr">
          <a:solidFill>
            <a:schemeClr val="tx2"/>
          </a:solidFill>
          <a:miter lim="800000"/>
          <a:headEnd type="none" w="lg" len="lg"/>
          <a:tailEnd type="none" w="lg" len="lg"/>
        </a:ln>
      </a:spPr>
      <a:bodyPr lIns="81043" tIns="81043" rIns="81043" bIns="81043" anchor="ctr"/>
      <a:lstStyle>
        <a:defPPr algn="ctr">
          <a:defRPr sz="1200" b="1" dirty="0" smtClean="0">
            <a:solidFill>
              <a:srgbClr val="FFFFFF"/>
            </a:solidFill>
            <a:latin typeface="+mj-ea"/>
            <a:ea typeface="+mj-ea"/>
          </a:defRPr>
        </a:defPPr>
      </a:lstStyle>
    </a:spDef>
    <a:lnDef>
      <a:spPr>
        <a:ln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+mj-ea"/>
            <a:ea typeface="+mj-ea"/>
          </a:defRPr>
        </a:defPPr>
      </a:lstStyle>
    </a:tx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730</TotalTime>
  <Words>4699</Words>
  <Application>Microsoft Office PowerPoint</Application>
  <PresentationFormat>全屏显示(16:10)</PresentationFormat>
  <Paragraphs>635</Paragraphs>
  <Slides>127</Slides>
  <Notes>12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7</vt:i4>
      </vt:variant>
    </vt:vector>
  </HeadingPairs>
  <TitlesOfParts>
    <vt:vector size="137" baseType="lpstr">
      <vt:lpstr>黑体</vt:lpstr>
      <vt:lpstr>华文细黑</vt:lpstr>
      <vt:lpstr>宋体</vt:lpstr>
      <vt:lpstr>微软雅黑</vt:lpstr>
      <vt:lpstr>Arial</vt:lpstr>
      <vt:lpstr>Calibri</vt:lpstr>
      <vt:lpstr>Franklin Gothic Book</vt:lpstr>
      <vt:lpstr>Franklin Gothic Medium</vt:lpstr>
      <vt:lpstr>Marvin模板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JZ</dc:creator>
  <cp:lastModifiedBy>Cheng,Xiaoying</cp:lastModifiedBy>
  <cp:revision>7558</cp:revision>
  <dcterms:created xsi:type="dcterms:W3CDTF">2009-06-22T10:28:54Z</dcterms:created>
  <dcterms:modified xsi:type="dcterms:W3CDTF">2016-04-16T13:07:02Z</dcterms:modified>
</cp:coreProperties>
</file>